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48" r:id="rId1"/>
  </p:sldMasterIdLst>
  <p:notesMasterIdLst>
    <p:notesMasterId r:id="rId6"/>
  </p:notesMasterIdLst>
  <p:handoutMasterIdLst>
    <p:handoutMasterId r:id="rId7"/>
  </p:handoutMasterIdLst>
  <p:sldIdLst>
    <p:sldId id="354" r:id="rId2"/>
    <p:sldId id="355" r:id="rId3"/>
    <p:sldId id="352" r:id="rId4"/>
    <p:sldId id="353" r:id="rId5"/>
  </p:sldIdLst>
  <p:sldSz cx="18288000" cy="10287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241">
          <p15:clr>
            <a:srgbClr val="A4A3A4"/>
          </p15:clr>
        </p15:guide>
        <p15:guide id="4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mputer" initials="C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1E"/>
    <a:srgbClr val="D5A017"/>
    <a:srgbClr val="6B7CA5"/>
    <a:srgbClr val="F4811E"/>
    <a:srgbClr val="F36077"/>
    <a:srgbClr val="614A7B"/>
    <a:srgbClr val="9ABB5A"/>
    <a:srgbClr val="622523"/>
    <a:srgbClr val="4AACC6"/>
    <a:srgbClr val="E985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92558" autoAdjust="0"/>
  </p:normalViewPr>
  <p:slideViewPr>
    <p:cSldViewPr snapToGrid="0" snapToObjects="1">
      <p:cViewPr varScale="1">
        <p:scale>
          <a:sx n="72" d="100"/>
          <a:sy n="72" d="100"/>
        </p:scale>
        <p:origin x="522" y="66"/>
      </p:cViewPr>
      <p:guideLst>
        <p:guide orient="horz" pos="1620"/>
        <p:guide pos="2880"/>
        <p:guide orient="horz" pos="3241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23" d="100"/>
          <a:sy n="123" d="100"/>
        </p:scale>
        <p:origin x="-2172" y="-108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5668DB0-C220-184B-97FA-632477F1513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94DF4B-CABE-B84A-A254-26BA8918DD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A62A17D-E2B4-1F42-AC67-26D161EBFAA0}" type="datetimeFigureOut">
              <a:rPr lang="en-US"/>
              <a:pPr>
                <a:defRPr/>
              </a:pPr>
              <a:t>12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56C11F-FC83-094C-AEC5-A49BCB34D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BC965-0B70-3144-81F2-77776D2365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7C23531-77F2-6E43-9610-A0DD7817F282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A09EAB-6DC3-3641-9B8B-8C588E90F3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FE049E-2A5B-F745-B8A3-14886A24A3B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4AFB640-4C72-3E4A-AC20-C9A4F6631798}" type="datetimeFigureOut">
              <a:rPr lang="en-US"/>
              <a:pPr>
                <a:defRPr/>
              </a:pPr>
              <a:t>12/9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0A1A48F-8D12-FC4F-90B8-F0863E9326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DE475B-A4AD-1143-90E5-7D158E1D62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06AC9-3F84-EF46-885F-C3BCD38AF22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47D09E-765A-4848-BEF7-7D2388EC2E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A428807-8200-5D48-BB1B-DCEAC1543D97}" type="slidenum">
              <a:rPr lang="en-US" altLang="en-VN"/>
              <a:pPr/>
              <a:t>‹#›</a:t>
            </a:fld>
            <a:endParaRPr lang="en-US" altLang="en-V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28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72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16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60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0908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092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271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455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Phần lý thuyết này sẽ giới thiệu các mô hình deep learning được ứng dụng cho việc tóm tắt video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Trên cơ sở này chúng ta có thể xây dựng các ứng dụng tóm tắt video cho nhiều lĩnh vực khác nhau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Video là sự xếp chồng của nhiều frames - 3D CNN sẽ hiệu quả trong việc trích xuất đặc trưng của video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LSTM giúp cho mô hình nắm bắt được sự tương quan tuần tự giữa các frame với nhau</a:t>
            </a:r>
          </a:p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0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71117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Phần lý thuyết này sẽ giới thiệu các mô hình deep learning được ứng dụng cho việc tóm tắt video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Trên cơ sở này chúng ta có thể xây dựng các ứng dụng tóm tắt video cho nhiều lĩnh vực khác nhau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Video là sự xếp chồng của nhiều frames - 3D CNN sẽ hiệu quả trong việc trích xuất đặc trưng của video</a:t>
            </a:r>
          </a:p>
          <a:p>
            <a:pPr eaLnBrk="1" hangingPunct="1">
              <a:spcBef>
                <a:spcPct val="0"/>
              </a:spcBef>
            </a:pPr>
            <a:r>
              <a:rPr lang="vi-VN" altLang="en-US" dirty="0" smtClean="0"/>
              <a:t>LSTM giúp cho mô hình nắm bắt được sự tương quan tuần tự giữa các frame với nhau</a:t>
            </a:r>
          </a:p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1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3767589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vi-VN" altLang="en-US" sz="2400" dirty="0" smtClean="0">
                <a:latin typeface="Roboto"/>
              </a:rPr>
              <a:t>Crawl video từ các kênh youtube nổi tiếng có nhiều lượt view</a:t>
            </a:r>
          </a:p>
          <a:p>
            <a:pPr marL="342900" indent="-342900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vi-VN" altLang="en-US" sz="2400" dirty="0" smtClean="0">
                <a:latin typeface="Roboto"/>
              </a:rPr>
              <a:t>Chia nhỏ video thành các clip cảnh quay và gắn nhãn</a:t>
            </a:r>
          </a:p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2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64687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573936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CC97A-41E6-4A7A-A8FF-9176BF1BD7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636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F07EB0-56A8-B841-B347-E80DAF59A2E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3586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0321A4-2665-D147-A7A4-A25A4C4FEA2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410812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CD873FFE-637E-2E43-AE34-FC246F7B9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5" y="31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CD873FFE-637E-2E43-AE34-FC246F7B99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3175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DEB81F-D135-6F4C-85FE-FC067FDE0F41}"/>
              </a:ext>
            </a:extLst>
          </p:cNvPr>
          <p:cNvSpPr/>
          <p:nvPr userDrawn="1"/>
        </p:nvSpPr>
        <p:spPr>
          <a:xfrm>
            <a:off x="0" y="10186988"/>
            <a:ext cx="18288000" cy="10001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20662-5631-D142-B95A-6C4D601FC31E}"/>
              </a:ext>
            </a:extLst>
          </p:cNvPr>
          <p:cNvSpPr/>
          <p:nvPr userDrawn="1"/>
        </p:nvSpPr>
        <p:spPr>
          <a:xfrm>
            <a:off x="17197388" y="9577388"/>
            <a:ext cx="587375" cy="7096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E3F979-C333-EA4F-A2BE-FFB3635733A1}"/>
              </a:ext>
            </a:extLst>
          </p:cNvPr>
          <p:cNvSpPr/>
          <p:nvPr userDrawn="1"/>
        </p:nvSpPr>
        <p:spPr>
          <a:xfrm>
            <a:off x="503238" y="479425"/>
            <a:ext cx="1189037" cy="12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451D46-D08D-924E-981E-5FAAA6CC4B45}"/>
              </a:ext>
            </a:extLst>
          </p:cNvPr>
          <p:cNvSpPr/>
          <p:nvPr userDrawn="1"/>
        </p:nvSpPr>
        <p:spPr>
          <a:xfrm>
            <a:off x="1692275" y="479425"/>
            <a:ext cx="323850" cy="12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CD9053-6E4C-8C46-BD0A-6C0082D68B17}"/>
              </a:ext>
            </a:extLst>
          </p:cNvPr>
          <p:cNvSpPr/>
          <p:nvPr userDrawn="1"/>
        </p:nvSpPr>
        <p:spPr>
          <a:xfrm>
            <a:off x="2341563" y="479425"/>
            <a:ext cx="323850" cy="12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4A7E54-747C-5C44-959B-6137A4B57040}"/>
              </a:ext>
            </a:extLst>
          </p:cNvPr>
          <p:cNvSpPr/>
          <p:nvPr userDrawn="1"/>
        </p:nvSpPr>
        <p:spPr>
          <a:xfrm>
            <a:off x="2016125" y="479425"/>
            <a:ext cx="325438" cy="127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511" y="765579"/>
            <a:ext cx="17282980" cy="830868"/>
          </a:xfrm>
        </p:spPr>
        <p:txBody>
          <a:bodyPr lIns="0" tIns="0" rIns="0" bIns="0" anchor="t">
            <a:spAutoFit/>
          </a:bodyPr>
          <a:lstStyle>
            <a:lvl1pPr>
              <a:defRPr sz="53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511" y="2424170"/>
            <a:ext cx="17282980" cy="6841276"/>
          </a:xfrm>
        </p:spPr>
        <p:txBody>
          <a:bodyPr>
            <a:normAutofit/>
          </a:bodyPr>
          <a:lstStyle>
            <a:lvl1pPr>
              <a:defRPr sz="2100">
                <a:latin typeface="+mn-lt"/>
              </a:defRPr>
            </a:lvl1pPr>
            <a:lvl2pPr>
              <a:defRPr sz="2100">
                <a:latin typeface="+mn-lt"/>
              </a:defRPr>
            </a:lvl2pPr>
            <a:lvl3pPr>
              <a:defRPr sz="2100">
                <a:latin typeface="+mn-lt"/>
              </a:defRPr>
            </a:lvl3pPr>
            <a:lvl4pPr>
              <a:defRPr sz="2100">
                <a:latin typeface="+mn-lt"/>
              </a:defRPr>
            </a:lvl4pPr>
            <a:lvl5pPr>
              <a:defRPr sz="21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2511" y="1502556"/>
            <a:ext cx="17282980" cy="476140"/>
          </a:xfrm>
        </p:spPr>
        <p:txBody>
          <a:bodyPr lIns="0" tIns="0" rIns="0" bIns="0">
            <a:noAutofit/>
          </a:bodyPr>
          <a:lstStyle>
            <a:lvl1pPr marL="0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999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685594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1371189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2056783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2742377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4C02B0A-3F15-0644-85C1-DD8E13DB266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503238" y="9678988"/>
            <a:ext cx="41148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fld id="{5D3A4839-066D-634B-A069-918B41A4B1CA}" type="datetime1">
              <a:rPr lang="en-US"/>
              <a:pPr>
                <a:defRPr/>
              </a:pPr>
              <a:t>12/9/2023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538E284-7584-1C41-948C-8E012D9495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57900" y="9678988"/>
            <a:ext cx="61722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DF0677-D836-794F-A3D3-8945447434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7197388" y="9678988"/>
            <a:ext cx="587375" cy="547687"/>
          </a:xfrm>
        </p:spPr>
        <p:txBody>
          <a:bodyPr/>
          <a:lstStyle>
            <a:lvl1pPr algn="ctr">
              <a:defRPr sz="1500">
                <a:solidFill>
                  <a:srgbClr val="8064A2"/>
                </a:solidFill>
              </a:defRPr>
            </a:lvl1pPr>
          </a:lstStyle>
          <a:p>
            <a:fld id="{A1330A50-1257-DE47-9FBF-4A440C5A115B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677574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91306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92091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FCBA02C-0BCE-B747-B21A-AA74571762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259300" y="466725"/>
            <a:ext cx="514350" cy="547688"/>
          </a:xfr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fld id="{B8E0565A-11E2-4F42-B072-ED56BF13E034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444492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BFFA5D4-CE82-684E-A9E3-345D31D06D77}"/>
              </a:ext>
            </a:extLst>
          </p:cNvPr>
          <p:cNvSpPr/>
          <p:nvPr userDrawn="1"/>
        </p:nvSpPr>
        <p:spPr>
          <a:xfrm>
            <a:off x="17433925" y="9566275"/>
            <a:ext cx="482600" cy="484188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2" descr="H:\THUHA\SLIDE\SLIDE-VNPT-MEDIA-NTS\DESIGN\LOGO\thanhvien-01.png">
            <a:extLst>
              <a:ext uri="{FF2B5EF4-FFF2-40B4-BE49-F238E27FC236}">
                <a16:creationId xmlns:a16="http://schemas.microsoft.com/office/drawing/2014/main" id="{B14AF6BA-5D54-1645-A7B2-648F5D9B17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0113" y="9686925"/>
            <a:ext cx="2370137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35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15C3-B007-FC41-B70D-ED675F55360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4002262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CA0C1D-4098-6D46-A95F-EE2F0349225E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73679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840AB-413A-9E41-883A-4EF5613020A8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033612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AE632-74AD-EE42-A76B-3DB8C8CE677C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857235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A091F-5148-7749-8CC6-5490B088D3A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097746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6D39D-1213-2C4C-8E4E-D1E2108299C0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767349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1736A-7AC9-FB49-A9AF-B8AEB76DFB22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749042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39765-D900-3E43-9EBB-7FEE8D739B24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66308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44" r:id="rId12"/>
    <p:sldLayoutId id="2147483745" r:id="rId13"/>
    <p:sldLayoutId id="2147483746" r:id="rId14"/>
    <p:sldLayoutId id="2147483747" r:id="rId15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tuannn17\Videos\Captures\20230906_v1.1%20&#8211;%20executor.py%202023-09-27%2009-58-39.mp4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file:///D:\3.%20Private\&#272;&#7873;%20t&#224;i\EventDetection.pn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Rectangle 18"/>
          <p:cNvSpPr/>
          <p:nvPr/>
        </p:nvSpPr>
        <p:spPr>
          <a:xfrm>
            <a:off x="669457" y="717220"/>
            <a:ext cx="111868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buClr>
                <a:schemeClr val="dk2"/>
              </a:buClr>
              <a:buSzPts val="1400"/>
            </a:pPr>
            <a:r>
              <a:rPr lang="vi-VN" sz="2800" u="sng" dirty="0">
                <a:solidFill>
                  <a:srgbClr val="0070C0"/>
                </a:solidFill>
                <a:latin typeface="Roboto"/>
                <a:ea typeface="Roboto"/>
                <a:cs typeface="Roboto"/>
                <a:sym typeface="Roboto"/>
              </a:rPr>
              <a:t>Các kỹ thuật deep learning ứng dụng cho </a:t>
            </a:r>
            <a:r>
              <a:rPr lang="vi-VN" sz="2800" u="sng" dirty="0" smtClean="0">
                <a:solidFill>
                  <a:srgbClr val="0070C0"/>
                </a:solidFill>
                <a:latin typeface="Roboto"/>
                <a:ea typeface="Roboto"/>
                <a:cs typeface="Roboto"/>
                <a:sym typeface="Roboto"/>
              </a:rPr>
              <a:t>video summarization</a:t>
            </a:r>
            <a:endParaRPr lang="en-US" sz="2800" u="sng" dirty="0" smtClean="0">
              <a:solidFill>
                <a:srgbClr val="0070C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602" y="1306447"/>
            <a:ext cx="11635605" cy="36559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8464" y="4829877"/>
            <a:ext cx="9691080" cy="462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43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076" name="Picture 4" descr="Automated soccer head impact exposure tracking using video and deep learning  | Scientific Report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9987" y="3144314"/>
            <a:ext cx="9360504" cy="3163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887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52926" y="837512"/>
            <a:ext cx="15914370" cy="529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vi-VN" altLang="en-US" sz="2400" b="1" u="sng" dirty="0">
                <a:latin typeface="Roboto"/>
              </a:rPr>
              <a:t>Xây dựng bộ dữ liệu hành động đề xuất</a:t>
            </a: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810075"/>
              </p:ext>
            </p:extLst>
          </p:nvPr>
        </p:nvGraphicFramePr>
        <p:xfrm>
          <a:off x="864043" y="1505529"/>
          <a:ext cx="16492136" cy="75605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763273">
                  <a:extLst>
                    <a:ext uri="{9D8B030D-6E8A-4147-A177-3AD203B41FA5}">
                      <a16:colId xmlns:a16="http://schemas.microsoft.com/office/drawing/2014/main" val="510589275"/>
                    </a:ext>
                  </a:extLst>
                </a:gridCol>
                <a:gridCol w="4034439">
                  <a:extLst>
                    <a:ext uri="{9D8B030D-6E8A-4147-A177-3AD203B41FA5}">
                      <a16:colId xmlns:a16="http://schemas.microsoft.com/office/drawing/2014/main" val="1358134868"/>
                    </a:ext>
                  </a:extLst>
                </a:gridCol>
                <a:gridCol w="10327703">
                  <a:extLst>
                    <a:ext uri="{9D8B030D-6E8A-4147-A177-3AD203B41FA5}">
                      <a16:colId xmlns:a16="http://schemas.microsoft.com/office/drawing/2014/main" val="2826562490"/>
                    </a:ext>
                  </a:extLst>
                </a:gridCol>
                <a:gridCol w="1366721">
                  <a:extLst>
                    <a:ext uri="{9D8B030D-6E8A-4147-A177-3AD203B41FA5}">
                      <a16:colId xmlns:a16="http://schemas.microsoft.com/office/drawing/2014/main" val="2993956049"/>
                    </a:ext>
                  </a:extLst>
                </a:gridCol>
              </a:tblGrid>
              <a:tr h="5097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TT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1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h quay đề xuất</a:t>
                      </a:r>
                      <a:endParaRPr lang="en-US" sz="2400" b="1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1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ổ hợp các sự kiện</a:t>
                      </a:r>
                      <a:endParaRPr lang="en-US" sz="2400" b="1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ideo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83479466"/>
                  </a:ext>
                </a:extLst>
              </a:tr>
              <a:tr h="5090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iớ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iệ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ộ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ình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7577063"/>
                  </a:ext>
                </a:extLst>
              </a:tr>
              <a:tr h="21431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rự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iếp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Penalty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1745232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3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i</a:t>
                      </a:r>
                      <a:r>
                        <a:rPr lang="en-US" sz="2400" u="none" strike="noStrike" dirty="0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ợp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ệ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iệ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hậ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7316295"/>
                  </a:ext>
                </a:extLst>
              </a:tr>
              <a:tr h="17145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4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ấn công nguy hiể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ậ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ệ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rự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iếp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</a:t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Penalty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57930145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5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 lỗi thẻ đỏ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 lỗi - Trọng tài rút thẻ đỏ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2546422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6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ẻ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à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rọ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à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r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ẻ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à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50685660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7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vi-VN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ay người</a:t>
                      </a:r>
                      <a:endParaRPr lang="vi-VN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83752452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8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ể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diễ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ỹ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ă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2103826"/>
                  </a:ext>
                </a:extLst>
              </a:tr>
            </a:tbl>
          </a:graphicData>
        </a:graphic>
      </p:graphicFrame>
      <p:sp>
        <p:nvSpPr>
          <p:cNvPr id="5" name="Action Button: Movie 4">
            <a:hlinkClick r:id="rId3" action="ppaction://hlinkfile" highlightClick="1"/>
          </p:cNvPr>
          <p:cNvSpPr/>
          <p:nvPr/>
        </p:nvSpPr>
        <p:spPr>
          <a:xfrm>
            <a:off x="16202024" y="2051255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ction Button: Movie 11">
            <a:hlinkClick r:id="" action="ppaction://noaction" highlightClick="1"/>
          </p:cNvPr>
          <p:cNvSpPr/>
          <p:nvPr/>
        </p:nvSpPr>
        <p:spPr>
          <a:xfrm>
            <a:off x="16202024" y="3335614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ction Button: Movie 12">
            <a:hlinkClick r:id="" action="ppaction://noaction" highlightClick="1"/>
          </p:cNvPr>
          <p:cNvSpPr/>
          <p:nvPr/>
        </p:nvSpPr>
        <p:spPr>
          <a:xfrm>
            <a:off x="16202024" y="4720952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ction Button: Movie 13">
            <a:hlinkClick r:id="" action="ppaction://noaction" highlightClick="1"/>
          </p:cNvPr>
          <p:cNvSpPr/>
          <p:nvPr/>
        </p:nvSpPr>
        <p:spPr>
          <a:xfrm>
            <a:off x="16202024" y="5938078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ction Button: Movie 14">
            <a:hlinkClick r:id="" action="ppaction://noaction" highlightClick="1"/>
          </p:cNvPr>
          <p:cNvSpPr/>
          <p:nvPr/>
        </p:nvSpPr>
        <p:spPr>
          <a:xfrm>
            <a:off x="16202024" y="7061990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ction Button: Movie 15">
            <a:hlinkClick r:id="" action="ppaction://noaction" highlightClick="1"/>
          </p:cNvPr>
          <p:cNvSpPr/>
          <p:nvPr/>
        </p:nvSpPr>
        <p:spPr>
          <a:xfrm>
            <a:off x="16202024" y="7571427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ction Button: Movie 16">
            <a:hlinkClick r:id="" action="ppaction://noaction" highlightClick="1"/>
          </p:cNvPr>
          <p:cNvSpPr/>
          <p:nvPr/>
        </p:nvSpPr>
        <p:spPr>
          <a:xfrm>
            <a:off x="16202024" y="8095713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ction Button: Movie 17">
            <a:hlinkClick r:id="" action="ppaction://noaction" highlightClick="1"/>
          </p:cNvPr>
          <p:cNvSpPr/>
          <p:nvPr/>
        </p:nvSpPr>
        <p:spPr>
          <a:xfrm>
            <a:off x="16202024" y="8609568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53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" name="Action Button: Movie 3">
            <a:hlinkClick r:id="rId3" action="ppaction://hlinkfile" highlightClick="1"/>
          </p:cNvPr>
          <p:cNvSpPr/>
          <p:nvPr/>
        </p:nvSpPr>
        <p:spPr>
          <a:xfrm>
            <a:off x="9934579" y="7765773"/>
            <a:ext cx="679162" cy="728869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074" y="843408"/>
            <a:ext cx="8766724" cy="881576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752" y="923978"/>
            <a:ext cx="9050777" cy="47408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010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51751</TotalTime>
  <Words>468</Words>
  <Application>Microsoft Office PowerPoint</Application>
  <PresentationFormat>Custom</PresentationFormat>
  <Paragraphs>6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等线</vt:lpstr>
      <vt:lpstr>Robot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UNGHT</dc:creator>
  <cp:lastModifiedBy>Tuan Nguyen Ngoc (EDA - AI.DS)</cp:lastModifiedBy>
  <cp:revision>2445</cp:revision>
  <dcterms:created xsi:type="dcterms:W3CDTF">2018-07-16T16:53:28Z</dcterms:created>
  <dcterms:modified xsi:type="dcterms:W3CDTF">2023-12-09T04:23:54Z</dcterms:modified>
</cp:coreProperties>
</file>